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notesMasterIdLst>
    <p:notesMasterId r:id="rId3"/>
  </p:notesMasterIdLst>
  <p:sldIdLst>
    <p:sldId id="256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72" d="100"/>
          <a:sy n="72" d="100"/>
        </p:scale>
        <p:origin x="66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B2E77F-ED5B-4E3E-A46C-0B8B78631929}" type="datetimeFigureOut">
              <a:rPr lang="en-GB" smtClean="0"/>
              <a:t>24/04/20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30C06A-1093-48C2-B4BF-7A4CC16E186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04765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DDBF0E-374C-4845-9213-8F81DC565DBC}" type="datetimeFigureOut">
              <a:rPr lang="en-GB" smtClean="0"/>
              <a:t>24/04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11D633-4CDE-431D-B486-5C8AE933C8F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28688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DDBF0E-374C-4845-9213-8F81DC565DBC}" type="datetimeFigureOut">
              <a:rPr lang="en-GB" smtClean="0"/>
              <a:t>24/04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11D633-4CDE-431D-B486-5C8AE933C8F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99179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DDBF0E-374C-4845-9213-8F81DC565DBC}" type="datetimeFigureOut">
              <a:rPr lang="en-GB" smtClean="0"/>
              <a:t>24/04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11D633-4CDE-431D-B486-5C8AE933C8F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33071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DDBF0E-374C-4845-9213-8F81DC565DBC}" type="datetimeFigureOut">
              <a:rPr lang="en-GB" smtClean="0"/>
              <a:t>24/04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11D633-4CDE-431D-B486-5C8AE933C8F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133391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DDBF0E-374C-4845-9213-8F81DC565DBC}" type="datetimeFigureOut">
              <a:rPr lang="en-GB" smtClean="0"/>
              <a:t>24/04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11D633-4CDE-431D-B486-5C8AE933C8F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44489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DDBF0E-374C-4845-9213-8F81DC565DBC}" type="datetimeFigureOut">
              <a:rPr lang="en-GB" smtClean="0"/>
              <a:t>24/04/2016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11D633-4CDE-431D-B486-5C8AE933C8F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16239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DDBF0E-374C-4845-9213-8F81DC565DBC}" type="datetimeFigureOut">
              <a:rPr lang="en-GB" smtClean="0"/>
              <a:t>24/04/2016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11D633-4CDE-431D-B486-5C8AE933C8F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28286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DDBF0E-374C-4845-9213-8F81DC565DBC}" type="datetimeFigureOut">
              <a:rPr lang="en-GB" smtClean="0"/>
              <a:t>24/04/2016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11D633-4CDE-431D-B486-5C8AE933C8F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85704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DDBF0E-374C-4845-9213-8F81DC565DBC}" type="datetimeFigureOut">
              <a:rPr lang="en-GB" smtClean="0"/>
              <a:t>24/04/2016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11D633-4CDE-431D-B486-5C8AE933C8F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12406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DDBF0E-374C-4845-9213-8F81DC565DBC}" type="datetimeFigureOut">
              <a:rPr lang="en-GB" smtClean="0"/>
              <a:t>24/04/2016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11D633-4CDE-431D-B486-5C8AE933C8F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59122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DDBF0E-374C-4845-9213-8F81DC565DBC}" type="datetimeFigureOut">
              <a:rPr lang="en-GB" smtClean="0"/>
              <a:t>24/04/2016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11D633-4CDE-431D-B486-5C8AE933C8F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17905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DDBF0E-374C-4845-9213-8F81DC565DBC}" type="datetimeFigureOut">
              <a:rPr lang="en-GB" smtClean="0"/>
              <a:t>24/04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11D633-4CDE-431D-B486-5C8AE933C8F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6558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1.jp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357159" y="1085850"/>
            <a:ext cx="8429682" cy="5018263"/>
            <a:chOff x="357159" y="1085850"/>
            <a:chExt cx="8429682" cy="5018263"/>
          </a:xfrm>
        </p:grpSpPr>
        <p:sp>
          <p:nvSpPr>
            <p:cNvPr id="5" name="Line 7"/>
            <p:cNvSpPr>
              <a:spLocks noChangeShapeType="1"/>
            </p:cNvSpPr>
            <p:nvPr>
              <p:custDataLst>
                <p:tags r:id="rId1"/>
              </p:custDataLst>
            </p:nvPr>
          </p:nvSpPr>
          <p:spPr bwMode="gray">
            <a:xfrm flipV="1">
              <a:off x="923896" y="3429000"/>
              <a:ext cx="7862945" cy="17463"/>
            </a:xfrm>
            <a:prstGeom prst="line">
              <a:avLst/>
            </a:prstGeom>
            <a:noFill/>
            <a:ln w="9525">
              <a:solidFill>
                <a:srgbClr val="E1A800"/>
              </a:solidFill>
              <a:prstDash val="dash"/>
              <a:round/>
              <a:headEnd/>
              <a:tailEnd/>
            </a:ln>
          </p:spPr>
          <p:txBody>
            <a:bodyPr lIns="91427" tIns="45714" rIns="91427" bIns="45714"/>
            <a:lstStyle/>
            <a:p>
              <a:endParaRPr lang="en-US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6" name="Line 9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gray">
            <a:xfrm flipV="1">
              <a:off x="923896" y="1085850"/>
              <a:ext cx="0" cy="473075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lIns="91427" tIns="45714" rIns="91427" bIns="45714"/>
            <a:lstStyle/>
            <a:p>
              <a:endParaRPr lang="en-US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7" name="Line 10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gray">
            <a:xfrm flipV="1">
              <a:off x="923896" y="5786454"/>
              <a:ext cx="7862945" cy="20621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lIns="91427" tIns="45714" rIns="91427" bIns="45714"/>
            <a:lstStyle/>
            <a:p>
              <a:endParaRPr lang="en-US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8" name="Line 11"/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gray">
            <a:xfrm flipV="1">
              <a:off x="4786314" y="1085850"/>
              <a:ext cx="0" cy="4730750"/>
            </a:xfrm>
            <a:prstGeom prst="line">
              <a:avLst/>
            </a:prstGeom>
            <a:noFill/>
            <a:ln w="9525">
              <a:solidFill>
                <a:srgbClr val="E1A800"/>
              </a:solidFill>
              <a:prstDash val="dash"/>
              <a:round/>
              <a:headEnd/>
              <a:tailEnd/>
            </a:ln>
          </p:spPr>
          <p:txBody>
            <a:bodyPr lIns="91427" tIns="45714" rIns="91427" bIns="45714"/>
            <a:lstStyle/>
            <a:p>
              <a:endParaRPr lang="en-US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9" name="Rectangle 12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923897" y="5867401"/>
              <a:ext cx="42862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895226">
                <a:buClr>
                  <a:schemeClr val="tx2"/>
                </a:buClr>
              </a:pPr>
              <a:r>
                <a:rPr lang="en-GB" sz="1200" dirty="0">
                  <a:solidFill>
                    <a:schemeClr val="tx1">
                      <a:lumMod val="50000"/>
                    </a:schemeClr>
                  </a:solidFill>
                </a:rPr>
                <a:t>Low</a:t>
              </a:r>
            </a:p>
          </p:txBody>
        </p:sp>
        <p:sp>
          <p:nvSpPr>
            <p:cNvPr id="10" name="Rectangle 13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8286776" y="5857892"/>
              <a:ext cx="35877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895226">
                <a:buClr>
                  <a:schemeClr val="tx2"/>
                </a:buClr>
              </a:pPr>
              <a:r>
                <a:rPr lang="en-GB" sz="1200" dirty="0">
                  <a:solidFill>
                    <a:schemeClr val="tx1">
                      <a:lumMod val="50000"/>
                    </a:schemeClr>
                  </a:solidFill>
                </a:rPr>
                <a:t>High</a:t>
              </a:r>
            </a:p>
          </p:txBody>
        </p:sp>
        <p:sp>
          <p:nvSpPr>
            <p:cNvPr id="11" name="Rectangle 14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500034" y="5572140"/>
              <a:ext cx="323850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895226">
                <a:buClr>
                  <a:schemeClr val="tx2"/>
                </a:buClr>
              </a:pPr>
              <a:r>
                <a:rPr lang="en-GB" sz="1200" dirty="0">
                  <a:solidFill>
                    <a:schemeClr val="tx1">
                      <a:lumMod val="50000"/>
                    </a:schemeClr>
                  </a:solidFill>
                </a:rPr>
                <a:t>Low</a:t>
              </a:r>
            </a:p>
          </p:txBody>
        </p:sp>
        <p:sp>
          <p:nvSpPr>
            <p:cNvPr id="12" name="Rectangle 15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357159" y="1085850"/>
              <a:ext cx="35877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defTabSz="895226">
                <a:buClr>
                  <a:schemeClr val="tx2"/>
                </a:buClr>
              </a:pPr>
              <a:r>
                <a:rPr lang="en-GB" sz="1200" dirty="0">
                  <a:solidFill>
                    <a:schemeClr val="tx1">
                      <a:lumMod val="50000"/>
                    </a:schemeClr>
                  </a:solidFill>
                </a:rPr>
                <a:t>High</a:t>
              </a:r>
            </a:p>
          </p:txBody>
        </p:sp>
        <p:sp>
          <p:nvSpPr>
            <p:cNvPr id="13" name="Rectangle 16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 rot="16200000">
              <a:off x="23841" y="3300682"/>
              <a:ext cx="1487473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defTabSz="895226">
                <a:buClr>
                  <a:schemeClr val="tx2"/>
                </a:buClr>
              </a:pPr>
              <a:r>
                <a:rPr lang="en-GB" dirty="0">
                  <a:solidFill>
                    <a:schemeClr val="tx1">
                      <a:lumMod val="50000"/>
                    </a:schemeClr>
                  </a:solidFill>
                </a:rPr>
                <a:t>Influence</a:t>
              </a:r>
            </a:p>
          </p:txBody>
        </p:sp>
        <p:sp>
          <p:nvSpPr>
            <p:cNvPr id="14" name="Rectangle 17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4298947" y="5857892"/>
              <a:ext cx="915995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defTabSz="895226">
                <a:buClr>
                  <a:schemeClr val="tx2"/>
                </a:buClr>
              </a:pPr>
              <a:r>
                <a:rPr lang="en-GB" sz="1600" dirty="0">
                  <a:solidFill>
                    <a:schemeClr val="tx1">
                      <a:lumMod val="50000"/>
                    </a:schemeClr>
                  </a:solidFill>
                </a:rPr>
                <a:t>Impact</a:t>
              </a:r>
            </a:p>
          </p:txBody>
        </p:sp>
      </p:grpSp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833983"/>
              </p:ext>
            </p:extLst>
          </p:nvPr>
        </p:nvGraphicFramePr>
        <p:xfrm>
          <a:off x="5364088" y="1270516"/>
          <a:ext cx="1428760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87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65368">
                <a:tc>
                  <a:txBody>
                    <a:bodyPr/>
                    <a:lstStyle/>
                    <a:p>
                      <a:r>
                        <a:rPr lang="en-GB" sz="900" dirty="0"/>
                        <a:t>Nam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1822">
                <a:tc>
                  <a:txBody>
                    <a:bodyPr/>
                    <a:lstStyle/>
                    <a:p>
                      <a:r>
                        <a:rPr lang="en-GB" sz="900" dirty="0"/>
                        <a:t>Departm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6" name="Title 1"/>
          <p:cNvSpPr txBox="1">
            <a:spLocks/>
          </p:cNvSpPr>
          <p:nvPr/>
        </p:nvSpPr>
        <p:spPr>
          <a:xfrm>
            <a:off x="357158" y="214290"/>
            <a:ext cx="8229600" cy="296842"/>
          </a:xfrm>
          <a:prstGeom prst="rect">
            <a:avLst/>
          </a:prstGeom>
        </p:spPr>
        <p:txBody>
          <a:bodyPr/>
          <a:lstStyle/>
          <a:p>
            <a:pPr lvl="0" eaLnBrk="0" hangingPunct="0"/>
            <a:r>
              <a:rPr lang="en-GB" sz="1200" b="1" kern="0" dirty="0">
                <a:solidFill>
                  <a:srgbClr val="132E66"/>
                </a:solidFill>
                <a:latin typeface="+mj-lt"/>
                <a:ea typeface="+mj-ea"/>
                <a:cs typeface="+mj-cs"/>
              </a:rPr>
              <a:t>Stakeholder Map - The impact and influence of Stakeholder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73242" y="438780"/>
            <a:ext cx="8015182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b="1" dirty="0">
                <a:solidFill>
                  <a:srgbClr val="FF0000"/>
                </a:solidFill>
                <a:latin typeface="+mn-lt"/>
                <a:cs typeface="+mn-cs"/>
              </a:rPr>
              <a:t>This template can be used to identify the stakeholders. You can change the colours of the ‘Name Box’ to reflect whether the stakeholder will have either a positive, negative, or neutral affect of the project. Please refer to the Stakeholder technique for further details 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1441690" y="6366531"/>
            <a:ext cx="902244" cy="276999"/>
            <a:chOff x="551553" y="6081024"/>
            <a:chExt cx="902244" cy="276999"/>
          </a:xfrm>
        </p:grpSpPr>
        <p:sp>
          <p:nvSpPr>
            <p:cNvPr id="19" name="Rectangle 18"/>
            <p:cNvSpPr/>
            <p:nvPr/>
          </p:nvSpPr>
          <p:spPr>
            <a:xfrm>
              <a:off x="551553" y="6104113"/>
              <a:ext cx="216024" cy="216024"/>
            </a:xfrm>
            <a:prstGeom prst="rect">
              <a:avLst/>
            </a:prstGeom>
            <a:solidFill>
              <a:srgbClr val="92D05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732125" y="6081024"/>
              <a:ext cx="72167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200" dirty="0"/>
                <a:t>Positive</a:t>
              </a: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3573147" y="6336043"/>
            <a:ext cx="969571" cy="276999"/>
            <a:chOff x="551553" y="6081024"/>
            <a:chExt cx="969571" cy="276999"/>
          </a:xfrm>
        </p:grpSpPr>
        <p:sp>
          <p:nvSpPr>
            <p:cNvPr id="22" name="Rectangle 21"/>
            <p:cNvSpPr/>
            <p:nvPr/>
          </p:nvSpPr>
          <p:spPr>
            <a:xfrm>
              <a:off x="551553" y="6104113"/>
              <a:ext cx="216024" cy="216024"/>
            </a:xfrm>
            <a:prstGeom prst="rect">
              <a:avLst/>
            </a:prstGeom>
            <a:solidFill>
              <a:srgbClr val="C00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732125" y="6081024"/>
              <a:ext cx="78899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200" dirty="0"/>
                <a:t>Negative</a:t>
              </a: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2615010" y="6343442"/>
            <a:ext cx="858963" cy="276999"/>
            <a:chOff x="551553" y="6081024"/>
            <a:chExt cx="858963" cy="276999"/>
          </a:xfrm>
        </p:grpSpPr>
        <p:sp>
          <p:nvSpPr>
            <p:cNvPr id="25" name="Rectangle 24"/>
            <p:cNvSpPr/>
            <p:nvPr/>
          </p:nvSpPr>
          <p:spPr>
            <a:xfrm>
              <a:off x="551553" y="6104113"/>
              <a:ext cx="216024" cy="216024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732125" y="6081024"/>
              <a:ext cx="67839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200" dirty="0"/>
                <a:t>Neutral</a:t>
              </a:r>
            </a:p>
          </p:txBody>
        </p:sp>
      </p:grpSp>
      <p:sp>
        <p:nvSpPr>
          <p:cNvPr id="27" name="TextBox 26"/>
          <p:cNvSpPr txBox="1"/>
          <p:nvPr/>
        </p:nvSpPr>
        <p:spPr>
          <a:xfrm>
            <a:off x="5929322" y="1937156"/>
            <a:ext cx="2357454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200" dirty="0">
                <a:solidFill>
                  <a:srgbClr val="FF0000"/>
                </a:solidFill>
              </a:rPr>
              <a:t>These are the people you need to fully engage and satisfy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802224" y="1844824"/>
            <a:ext cx="2214578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200" dirty="0">
                <a:solidFill>
                  <a:srgbClr val="FF0000"/>
                </a:solidFill>
              </a:rPr>
              <a:t>These are the people you need to satisfy an keep up to date with progress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892812" y="4228984"/>
            <a:ext cx="2214578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200" dirty="0">
                <a:solidFill>
                  <a:srgbClr val="FF0000"/>
                </a:solidFill>
              </a:rPr>
              <a:t>Provide these people with some updates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6202221" y="4228984"/>
            <a:ext cx="2214578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200" dirty="0">
                <a:solidFill>
                  <a:srgbClr val="FF0000"/>
                </a:solidFill>
              </a:rPr>
              <a:t>These people need to be  engaged as you will be working with them</a:t>
            </a:r>
          </a:p>
        </p:txBody>
      </p:sp>
      <p:graphicFrame>
        <p:nvGraphicFramePr>
          <p:cNvPr id="31" name="Table 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9090561"/>
              </p:ext>
            </p:extLst>
          </p:nvPr>
        </p:nvGraphicFramePr>
        <p:xfrm>
          <a:off x="5436096" y="3725719"/>
          <a:ext cx="1428760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87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65368">
                <a:tc>
                  <a:txBody>
                    <a:bodyPr/>
                    <a:lstStyle/>
                    <a:p>
                      <a:r>
                        <a:rPr lang="en-GB" sz="900" dirty="0"/>
                        <a:t>Nam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1822">
                <a:tc>
                  <a:txBody>
                    <a:bodyPr/>
                    <a:lstStyle/>
                    <a:p>
                      <a:r>
                        <a:rPr lang="en-GB" sz="900" dirty="0"/>
                        <a:t>Departm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32" name="Table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1815918"/>
              </p:ext>
            </p:extLst>
          </p:nvPr>
        </p:nvGraphicFramePr>
        <p:xfrm>
          <a:off x="1946526" y="3725719"/>
          <a:ext cx="1428760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87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65368">
                <a:tc>
                  <a:txBody>
                    <a:bodyPr/>
                    <a:lstStyle/>
                    <a:p>
                      <a:r>
                        <a:rPr lang="en-GB" sz="900" dirty="0"/>
                        <a:t>Nam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1822">
                <a:tc>
                  <a:txBody>
                    <a:bodyPr/>
                    <a:lstStyle/>
                    <a:p>
                      <a:r>
                        <a:rPr lang="en-GB" sz="900" dirty="0"/>
                        <a:t>Departm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33" name="Table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7987054"/>
              </p:ext>
            </p:extLst>
          </p:nvPr>
        </p:nvGraphicFramePr>
        <p:xfrm>
          <a:off x="1765954" y="1273236"/>
          <a:ext cx="1428760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87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65368">
                <a:tc>
                  <a:txBody>
                    <a:bodyPr/>
                    <a:lstStyle/>
                    <a:p>
                      <a:r>
                        <a:rPr lang="en-GB" sz="900" dirty="0"/>
                        <a:t>Nam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1822">
                <a:tc>
                  <a:txBody>
                    <a:bodyPr/>
                    <a:lstStyle/>
                    <a:p>
                      <a:r>
                        <a:rPr lang="en-GB" sz="900" dirty="0"/>
                        <a:t>Departm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4" name="Footer Placeholder 3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inancial Crime Management Group April 2016</a:t>
            </a:r>
            <a:endParaRPr lang="en-GB"/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2712" y="256965"/>
            <a:ext cx="1278835" cy="328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3040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SfRP.2vkmOxT5yL4UBT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66TjpA_uUeK1iOHY.l0z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eHkEJnkkm_nBAWR4T5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5_HOoNGE2nCQqirUojJ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7qWLpfCHEuwWuqpJFIKO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bNDg91h0O18g7eluL0A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8f14VZaEmOPq7aAeX5j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LwlSfk1EOzi_DWehDzF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20hp2_AECnGL208Epba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f3dSI7C0CnSB6egrE3U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27</Words>
  <Application>Microsoft Office PowerPoint</Application>
  <PresentationFormat>Widescreen</PresentationFormat>
  <Paragraphs>24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Calibri Light</vt:lpstr>
      <vt:lpstr>Office Them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6-04-24T19:29:59Z</dcterms:created>
  <dcterms:modified xsi:type="dcterms:W3CDTF">2016-04-24T19:30:07Z</dcterms:modified>
</cp:coreProperties>
</file>